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8" r:id="rId5"/>
  </p:sldMasterIdLst>
  <p:notesMasterIdLst>
    <p:notesMasterId r:id="rId15"/>
  </p:notesMasterIdLst>
  <p:handoutMasterIdLst>
    <p:handoutMasterId r:id="rId16"/>
  </p:handoutMasterIdLst>
  <p:sldIdLst>
    <p:sldId id="256" r:id="rId6"/>
    <p:sldId id="693" r:id="rId7"/>
    <p:sldId id="657" r:id="rId8"/>
    <p:sldId id="725" r:id="rId9"/>
    <p:sldId id="726" r:id="rId10"/>
    <p:sldId id="728" r:id="rId11"/>
    <p:sldId id="729" r:id="rId12"/>
    <p:sldId id="727" r:id="rId13"/>
    <p:sldId id="711"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657"/>
            <p14:sldId id="725"/>
            <p14:sldId id="726"/>
            <p14:sldId id="728"/>
            <p14:sldId id="729"/>
            <p14:sldId id="727"/>
            <p14:sldId id="71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833"/>
    <a:srgbClr val="039CD1"/>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5" autoAdjust="0"/>
    <p:restoredTop sz="94660"/>
  </p:normalViewPr>
  <p:slideViewPr>
    <p:cSldViewPr snapToGrid="0">
      <p:cViewPr varScale="1">
        <p:scale>
          <a:sx n="63" d="100"/>
          <a:sy n="63" d="100"/>
        </p:scale>
        <p:origin x="816" y="60"/>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08-Sep-21</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08-Sep-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64711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3814419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7953094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8446724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888959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208203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CDF206B8-267D-4DDA-BFAC-7BB3AA75D2B2}"/>
              </a:ext>
            </a:extLst>
          </p:cNvPr>
          <p:cNvPicPr/>
          <p:nvPr userDrawn="1"/>
        </p:nvPicPr>
        <p:blipFill rotWithShape="1">
          <a:blip r:embed="rId5">
            <a:extLst>
              <a:ext uri="{28A0092B-C50C-407E-A947-70E740481C1C}">
                <a14:useLocalDpi xmlns:a14="http://schemas.microsoft.com/office/drawing/2010/main" val="0"/>
              </a:ext>
            </a:extLst>
          </a:blip>
          <a:srcRect l="4423" t="4333" r="3217" b="7247"/>
          <a:stretch/>
        </p:blipFill>
        <p:spPr bwMode="auto">
          <a:xfrm>
            <a:off x="928914" y="899880"/>
            <a:ext cx="10000343" cy="4107543"/>
          </a:xfrm>
          <a:prstGeom prst="rect">
            <a:avLst/>
          </a:prstGeom>
          <a:noFill/>
          <a:ln>
            <a:noFill/>
          </a:ln>
        </p:spPr>
      </p:pic>
    </p:spTree>
    <p:extLst>
      <p:ext uri="{BB962C8B-B14F-4D97-AF65-F5344CB8AC3E}">
        <p14:creationId xmlns:p14="http://schemas.microsoft.com/office/powerpoint/2010/main" val="438620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52E4E2B9-ADBD-40B7-BB28-46FFE040B61C}"/>
              </a:ext>
            </a:extLst>
          </p:cNvPr>
          <p:cNvSpPr txBox="1"/>
          <p:nvPr userDrawn="1"/>
        </p:nvSpPr>
        <p:spPr>
          <a:xfrm flipH="1">
            <a:off x="5820012" y="3184575"/>
            <a:ext cx="1390988" cy="584775"/>
          </a:xfrm>
          <a:prstGeom prst="rect">
            <a:avLst/>
          </a:prstGeom>
          <a:noFill/>
        </p:spPr>
        <p:txBody>
          <a:bodyPr wrap="square" rtlCol="0">
            <a:spAutoFit/>
          </a:bodyPr>
          <a:lstStyle/>
          <a:p>
            <a:r>
              <a:rPr lang="en-US" sz="1600" b="1" dirty="0">
                <a:solidFill>
                  <a:schemeClr val="tx1"/>
                </a:solidFill>
                <a:latin typeface="+mj-lt"/>
                <a:cs typeface="Aharoni" panose="02010803020104030203" pitchFamily="2" charset="-79"/>
              </a:rPr>
              <a:t>Partnering</a:t>
            </a:r>
            <a:br>
              <a:rPr lang="en-US" sz="1600" b="1" dirty="0">
                <a:solidFill>
                  <a:schemeClr val="tx1"/>
                </a:solidFill>
                <a:latin typeface="+mj-lt"/>
                <a:cs typeface="Aharoni" panose="02010803020104030203" pitchFamily="2" charset="-79"/>
              </a:rPr>
            </a:br>
            <a:r>
              <a:rPr lang="en-US" sz="1600" b="1" dirty="0">
                <a:solidFill>
                  <a:schemeClr val="tx1"/>
                </a:solidFill>
                <a:latin typeface="+mj-lt"/>
                <a:cs typeface="Aharoni" panose="02010803020104030203" pitchFamily="2" charset="-79"/>
              </a:rPr>
              <a:t>Institutions</a:t>
            </a:r>
            <a:endParaRPr lang="en-US" sz="500" b="1" dirty="0">
              <a:solidFill>
                <a:schemeClr val="tx1"/>
              </a:solidFill>
              <a:latin typeface="+mj-lt"/>
              <a:cs typeface="Aharoni" panose="02010803020104030203" pitchFamily="2" charset="-79"/>
            </a:endParaRPr>
          </a:p>
        </p:txBody>
      </p:sp>
      <p:grpSp>
        <p:nvGrpSpPr>
          <p:cNvPr id="26" name="Group 25">
            <a:extLst>
              <a:ext uri="{FF2B5EF4-FFF2-40B4-BE49-F238E27FC236}">
                <a16:creationId xmlns:a16="http://schemas.microsoft.com/office/drawing/2014/main" id="{20CB8E11-39A4-4E1E-A579-F3F237CFBB48}"/>
              </a:ext>
            </a:extLst>
          </p:cNvPr>
          <p:cNvGrpSpPr/>
          <p:nvPr userDrawn="1"/>
        </p:nvGrpSpPr>
        <p:grpSpPr>
          <a:xfrm>
            <a:off x="7211001" y="0"/>
            <a:ext cx="4980999" cy="6872041"/>
            <a:chOff x="7210999" y="-376519"/>
            <a:chExt cx="4981000" cy="6816521"/>
          </a:xfrm>
        </p:grpSpPr>
        <p:grpSp>
          <p:nvGrpSpPr>
            <p:cNvPr id="22" name="Group 21">
              <a:extLst>
                <a:ext uri="{FF2B5EF4-FFF2-40B4-BE49-F238E27FC236}">
                  <a16:creationId xmlns:a16="http://schemas.microsoft.com/office/drawing/2014/main" id="{553FEB1D-953F-4AD5-979E-64A2E1BFFAA3}"/>
                </a:ext>
              </a:extLst>
            </p:cNvPr>
            <p:cNvGrpSpPr/>
            <p:nvPr userDrawn="1"/>
          </p:nvGrpSpPr>
          <p:grpSpPr>
            <a:xfrm>
              <a:off x="7210999" y="-376519"/>
              <a:ext cx="4981000" cy="6242350"/>
              <a:chOff x="7210999" y="-19320"/>
              <a:chExt cx="4981000" cy="6242350"/>
            </a:xfrm>
          </p:grpSpPr>
          <p:pic>
            <p:nvPicPr>
              <p:cNvPr id="9" name="Picture 8">
                <a:extLst>
                  <a:ext uri="{FF2B5EF4-FFF2-40B4-BE49-F238E27FC236}">
                    <a16:creationId xmlns:a16="http://schemas.microsoft.com/office/drawing/2014/main" id="{B8A9B711-267A-4825-AFA4-306D33323A56}"/>
                  </a:ext>
                </a:extLst>
              </p:cNvPr>
              <p:cNvPicPr/>
              <p:nvPr/>
            </p:nvPicPr>
            <p:blipFill rotWithShape="1">
              <a:blip r:embed="rId2">
                <a:extLst>
                  <a:ext uri="{28A0092B-C50C-407E-A947-70E740481C1C}">
                    <a14:useLocalDpi xmlns:a14="http://schemas.microsoft.com/office/drawing/2010/main" val="0"/>
                  </a:ext>
                </a:extLst>
              </a:blip>
              <a:srcRect b="3956"/>
              <a:stretch/>
            </p:blipFill>
            <p:spPr bwMode="auto">
              <a:xfrm>
                <a:off x="7211001" y="1204009"/>
                <a:ext cx="4980990" cy="5019021"/>
              </a:xfrm>
              <a:prstGeom prst="rect">
                <a:avLst/>
              </a:prstGeom>
              <a:noFill/>
              <a:ln>
                <a:noFill/>
              </a:ln>
            </p:spPr>
          </p:pic>
          <p:pic>
            <p:nvPicPr>
              <p:cNvPr id="12" name="Picture 11">
                <a:extLst>
                  <a:ext uri="{FF2B5EF4-FFF2-40B4-BE49-F238E27FC236}">
                    <a16:creationId xmlns:a16="http://schemas.microsoft.com/office/drawing/2014/main" id="{FDAB62FA-DA2E-47A7-B719-956966448716}"/>
                  </a:ext>
                </a:extLst>
              </p:cNvPr>
              <p:cNvPicPr>
                <a:picLocks noChangeAspect="1"/>
              </p:cNvPicPr>
              <p:nvPr userDrawn="1"/>
            </p:nvPicPr>
            <p:blipFill rotWithShape="1">
              <a:blip r:embed="rId3"/>
              <a:srcRect t="8596" b="17335"/>
              <a:stretch/>
            </p:blipFill>
            <p:spPr>
              <a:xfrm>
                <a:off x="7210999" y="-19320"/>
                <a:ext cx="4981000" cy="1223329"/>
              </a:xfrm>
              <a:prstGeom prst="rect">
                <a:avLst/>
              </a:prstGeom>
            </p:spPr>
          </p:pic>
        </p:grpSp>
        <p:pic>
          <p:nvPicPr>
            <p:cNvPr id="24" name="Picture 23">
              <a:extLst>
                <a:ext uri="{FF2B5EF4-FFF2-40B4-BE49-F238E27FC236}">
                  <a16:creationId xmlns:a16="http://schemas.microsoft.com/office/drawing/2014/main" id="{9B7456BD-03D3-41B8-957B-38CB1512A39A}"/>
                </a:ext>
              </a:extLst>
            </p:cNvPr>
            <p:cNvPicPr>
              <a:picLocks noChangeAspect="1"/>
            </p:cNvPicPr>
            <p:nvPr userDrawn="1"/>
          </p:nvPicPr>
          <p:blipFill rotWithShape="1">
            <a:blip r:embed="rId4"/>
            <a:srcRect l="92684" t="16179" b="22966"/>
            <a:stretch/>
          </p:blipFill>
          <p:spPr>
            <a:xfrm>
              <a:off x="11818960" y="5850942"/>
              <a:ext cx="364397" cy="589060"/>
            </a:xfrm>
            <a:prstGeom prst="rect">
              <a:avLst/>
            </a:prstGeom>
          </p:spPr>
        </p:pic>
      </p:grpSp>
      <p:pic>
        <p:nvPicPr>
          <p:cNvPr id="7" name="Picture 6">
            <a:extLst>
              <a:ext uri="{FF2B5EF4-FFF2-40B4-BE49-F238E27FC236}">
                <a16:creationId xmlns:a16="http://schemas.microsoft.com/office/drawing/2014/main" id="{257237D6-3BC4-49E6-A079-9EF58A6B17EA}"/>
              </a:ext>
            </a:extLst>
          </p:cNvPr>
          <p:cNvPicPr>
            <a:picLocks noChangeAspect="1"/>
          </p:cNvPicPr>
          <p:nvPr userDrawn="1"/>
        </p:nvPicPr>
        <p:blipFill rotWithShape="1">
          <a:blip r:embed="rId5"/>
          <a:srcRect t="29710" b="25953"/>
          <a:stretch/>
        </p:blipFill>
        <p:spPr>
          <a:xfrm>
            <a:off x="7210999" y="6276829"/>
            <a:ext cx="4727891" cy="598922"/>
          </a:xfrm>
          <a:prstGeom prst="rect">
            <a:avLst/>
          </a:prstGeom>
        </p:spPr>
      </p:pic>
    </p:spTree>
    <p:extLst>
      <p:ext uri="{BB962C8B-B14F-4D97-AF65-F5344CB8AC3E}">
        <p14:creationId xmlns:p14="http://schemas.microsoft.com/office/powerpoint/2010/main" val="2924746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8-Sep-21</a:t>
            </a:fld>
            <a:endParaRPr lang="en-US" dirty="0"/>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62967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lium_Break">
    <p:spTree>
      <p:nvGrpSpPr>
        <p:cNvPr id="1" name=""/>
        <p:cNvGrpSpPr/>
        <p:nvPr/>
      </p:nvGrpSpPr>
      <p:grpSpPr>
        <a:xfrm>
          <a:off x="0" y="0"/>
          <a:ext cx="0" cy="0"/>
          <a:chOff x="0" y="0"/>
          <a:chExt cx="0" cy="0"/>
        </a:xfrm>
      </p:grpSpPr>
      <p:sp>
        <p:nvSpPr>
          <p:cNvPr id="3" name="Rectangle 2"/>
          <p:cNvSpPr/>
          <p:nvPr userDrawn="1"/>
        </p:nvSpPr>
        <p:spPr>
          <a:xfrm>
            <a:off x="3871384" y="6267451"/>
            <a:ext cx="4080933" cy="50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75">
              <a:solidFill>
                <a:prstClr val="white"/>
              </a:solidFill>
            </a:endParaRPr>
          </a:p>
        </p:txBody>
      </p:sp>
      <p:sp>
        <p:nvSpPr>
          <p:cNvPr id="22" name="Picture Placeholder 21"/>
          <p:cNvSpPr>
            <a:spLocks noGrp="1"/>
          </p:cNvSpPr>
          <p:nvPr>
            <p:ph type="pic" sz="quarter" idx="14"/>
          </p:nvPr>
        </p:nvSpPr>
        <p:spPr>
          <a:xfrm>
            <a:off x="6735517" y="22304"/>
            <a:ext cx="5545843" cy="6745671"/>
          </a:xfrm>
          <a:custGeom>
            <a:avLst/>
            <a:gdLst>
              <a:gd name="connsiteX0" fmla="*/ 490691 w 11088796"/>
              <a:gd name="connsiteY0" fmla="*/ 11756903 h 13491341"/>
              <a:gd name="connsiteX1" fmla="*/ 733817 w 11088796"/>
              <a:gd name="connsiteY1" fmla="*/ 11837830 h 13491341"/>
              <a:gd name="connsiteX2" fmla="*/ 1808437 w 11088796"/>
              <a:gd name="connsiteY2" fmla="*/ 12656501 h 13491341"/>
              <a:gd name="connsiteX3" fmla="*/ 1856663 w 11088796"/>
              <a:gd name="connsiteY3" fmla="*/ 13306044 h 13491341"/>
              <a:gd name="connsiteX4" fmla="*/ 1236430 w 11088796"/>
              <a:gd name="connsiteY4" fmla="*/ 13407341 h 13491341"/>
              <a:gd name="connsiteX5" fmla="*/ 161810 w 11088796"/>
              <a:gd name="connsiteY5" fmla="*/ 12588671 h 13491341"/>
              <a:gd name="connsiteX6" fmla="*/ 97910 w 11088796"/>
              <a:gd name="connsiteY6" fmla="*/ 11966183 h 13491341"/>
              <a:gd name="connsiteX7" fmla="*/ 490691 w 11088796"/>
              <a:gd name="connsiteY7" fmla="*/ 11756903 h 13491341"/>
              <a:gd name="connsiteX8" fmla="*/ 1287637 w 11088796"/>
              <a:gd name="connsiteY8" fmla="*/ 10710803 h 13491341"/>
              <a:gd name="connsiteX9" fmla="*/ 1523741 w 11088796"/>
              <a:gd name="connsiteY9" fmla="*/ 10800947 h 13491341"/>
              <a:gd name="connsiteX10" fmla="*/ 2598361 w 11088796"/>
              <a:gd name="connsiteY10" fmla="*/ 11619618 h 13491341"/>
              <a:gd name="connsiteX11" fmla="*/ 2667707 w 11088796"/>
              <a:gd name="connsiteY11" fmla="*/ 12241437 h 13491341"/>
              <a:gd name="connsiteX12" fmla="*/ 2049794 w 11088796"/>
              <a:gd name="connsiteY12" fmla="*/ 12339687 h 13491341"/>
              <a:gd name="connsiteX13" fmla="*/ 975175 w 11088796"/>
              <a:gd name="connsiteY13" fmla="*/ 11521017 h 13491341"/>
              <a:gd name="connsiteX14" fmla="*/ 908953 w 11088796"/>
              <a:gd name="connsiteY14" fmla="*/ 10901578 h 13491341"/>
              <a:gd name="connsiteX15" fmla="*/ 1287637 w 11088796"/>
              <a:gd name="connsiteY15" fmla="*/ 10710803 h 13491341"/>
              <a:gd name="connsiteX16" fmla="*/ 1721569 w 11088796"/>
              <a:gd name="connsiteY16" fmla="*/ 9334566 h 13491341"/>
              <a:gd name="connsiteX17" fmla="*/ 1947183 w 11088796"/>
              <a:gd name="connsiteY17" fmla="*/ 9405678 h 13491341"/>
              <a:gd name="connsiteX18" fmla="*/ 3834230 w 11088796"/>
              <a:gd name="connsiteY18" fmla="*/ 10843275 h 13491341"/>
              <a:gd name="connsiteX19" fmla="*/ 3878894 w 11088796"/>
              <a:gd name="connsiteY19" fmla="*/ 11451101 h 13491341"/>
              <a:gd name="connsiteX20" fmla="*/ 3262230 w 11088796"/>
              <a:gd name="connsiteY20" fmla="*/ 11594106 h 13491341"/>
              <a:gd name="connsiteX21" fmla="*/ 1375183 w 11088796"/>
              <a:gd name="connsiteY21" fmla="*/ 10156508 h 13491341"/>
              <a:gd name="connsiteX22" fmla="*/ 1349316 w 11088796"/>
              <a:gd name="connsiteY22" fmla="*/ 9524008 h 13491341"/>
              <a:gd name="connsiteX23" fmla="*/ 1721569 w 11088796"/>
              <a:gd name="connsiteY23" fmla="*/ 9334566 h 13491341"/>
              <a:gd name="connsiteX24" fmla="*/ 2101387 w 11088796"/>
              <a:gd name="connsiteY24" fmla="*/ 7936576 h 13491341"/>
              <a:gd name="connsiteX25" fmla="*/ 2344041 w 11088796"/>
              <a:gd name="connsiteY25" fmla="*/ 8020670 h 13491341"/>
              <a:gd name="connsiteX26" fmla="*/ 5052676 w 11088796"/>
              <a:gd name="connsiteY26" fmla="*/ 10084172 h 13491341"/>
              <a:gd name="connsiteX27" fmla="*/ 5120124 w 11088796"/>
              <a:gd name="connsiteY27" fmla="*/ 10709361 h 13491341"/>
              <a:gd name="connsiteX28" fmla="*/ 4480668 w 11088796"/>
              <a:gd name="connsiteY28" fmla="*/ 10835011 h 13491341"/>
              <a:gd name="connsiteX29" fmla="*/ 1772034 w 11088796"/>
              <a:gd name="connsiteY29" fmla="*/ 8771509 h 13491341"/>
              <a:gd name="connsiteX30" fmla="*/ 1723383 w 11088796"/>
              <a:gd name="connsiteY30" fmla="*/ 8121644 h 13491341"/>
              <a:gd name="connsiteX31" fmla="*/ 2101387 w 11088796"/>
              <a:gd name="connsiteY31" fmla="*/ 7936576 h 13491341"/>
              <a:gd name="connsiteX32" fmla="*/ 1945410 w 11088796"/>
              <a:gd name="connsiteY32" fmla="*/ 6115309 h 13491341"/>
              <a:gd name="connsiteX33" fmla="*/ 2188908 w 11088796"/>
              <a:gd name="connsiteY33" fmla="*/ 6197004 h 13491341"/>
              <a:gd name="connsiteX34" fmla="*/ 6859286 w 11088796"/>
              <a:gd name="connsiteY34" fmla="*/ 9755006 h 13491341"/>
              <a:gd name="connsiteX35" fmla="*/ 6889502 w 11088796"/>
              <a:gd name="connsiteY35" fmla="*/ 10387978 h 13491341"/>
              <a:gd name="connsiteX36" fmla="*/ 6287266 w 11088796"/>
              <a:gd name="connsiteY36" fmla="*/ 10505862 h 13491341"/>
              <a:gd name="connsiteX37" fmla="*/ 1616888 w 11088796"/>
              <a:gd name="connsiteY37" fmla="*/ 6947860 h 13491341"/>
              <a:gd name="connsiteX38" fmla="*/ 1551927 w 11088796"/>
              <a:gd name="connsiteY38" fmla="*/ 6321692 h 13491341"/>
              <a:gd name="connsiteX39" fmla="*/ 1945410 w 11088796"/>
              <a:gd name="connsiteY39" fmla="*/ 6115309 h 13491341"/>
              <a:gd name="connsiteX40" fmla="*/ 1120711 w 11088796"/>
              <a:gd name="connsiteY40" fmla="*/ 3826332 h 13491341"/>
              <a:gd name="connsiteX41" fmla="*/ 1362501 w 11088796"/>
              <a:gd name="connsiteY41" fmla="*/ 3910611 h 13491341"/>
              <a:gd name="connsiteX42" fmla="*/ 9297658 w 11088796"/>
              <a:gd name="connsiteY42" fmla="*/ 9955798 h 13491341"/>
              <a:gd name="connsiteX43" fmla="*/ 9344772 w 11088796"/>
              <a:gd name="connsiteY43" fmla="*/ 10560687 h 13491341"/>
              <a:gd name="connsiteX44" fmla="*/ 8749084 w 11088796"/>
              <a:gd name="connsiteY44" fmla="*/ 10675877 h 13491341"/>
              <a:gd name="connsiteX45" fmla="*/ 813928 w 11088796"/>
              <a:gd name="connsiteY45" fmla="*/ 4630689 h 13491341"/>
              <a:gd name="connsiteX46" fmla="*/ 744971 w 11088796"/>
              <a:gd name="connsiteY46" fmla="*/ 4009160 h 13491341"/>
              <a:gd name="connsiteX47" fmla="*/ 1120711 w 11088796"/>
              <a:gd name="connsiteY47" fmla="*/ 3826332 h 13491341"/>
              <a:gd name="connsiteX48" fmla="*/ 4227254 w 11088796"/>
              <a:gd name="connsiteY48" fmla="*/ 2790686 h 13491341"/>
              <a:gd name="connsiteX49" fmla="*/ 4454070 w 11088796"/>
              <a:gd name="connsiteY49" fmla="*/ 2860658 h 13491341"/>
              <a:gd name="connsiteX50" fmla="*/ 9475564 w 11088796"/>
              <a:gd name="connsiteY50" fmla="*/ 6686148 h 13491341"/>
              <a:gd name="connsiteX51" fmla="*/ 9504938 w 11088796"/>
              <a:gd name="connsiteY51" fmla="*/ 7321320 h 13491341"/>
              <a:gd name="connsiteX52" fmla="*/ 8903564 w 11088796"/>
              <a:gd name="connsiteY52" fmla="*/ 7436978 h 13491341"/>
              <a:gd name="connsiteX53" fmla="*/ 3882070 w 11088796"/>
              <a:gd name="connsiteY53" fmla="*/ 3611488 h 13491341"/>
              <a:gd name="connsiteX54" fmla="*/ 3837020 w 11088796"/>
              <a:gd name="connsiteY54" fmla="*/ 3003370 h 13491341"/>
              <a:gd name="connsiteX55" fmla="*/ 4227254 w 11088796"/>
              <a:gd name="connsiteY55" fmla="*/ 2790686 h 13491341"/>
              <a:gd name="connsiteX56" fmla="*/ 5978286 w 11088796"/>
              <a:gd name="connsiteY56" fmla="*/ 2454748 h 13491341"/>
              <a:gd name="connsiteX57" fmla="*/ 6213830 w 11088796"/>
              <a:gd name="connsiteY57" fmla="*/ 2544466 h 13491341"/>
              <a:gd name="connsiteX58" fmla="*/ 9303674 w 11088796"/>
              <a:gd name="connsiteY58" fmla="*/ 4898383 h 13491341"/>
              <a:gd name="connsiteX59" fmla="*/ 9350860 w 11088796"/>
              <a:gd name="connsiteY59" fmla="*/ 5503319 h 13491341"/>
              <a:gd name="connsiteX60" fmla="*/ 8755108 w 11088796"/>
              <a:gd name="connsiteY60" fmla="*/ 5618451 h 13491341"/>
              <a:gd name="connsiteX61" fmla="*/ 5665264 w 11088796"/>
              <a:gd name="connsiteY61" fmla="*/ 3264535 h 13491341"/>
              <a:gd name="connsiteX62" fmla="*/ 5596232 w 11088796"/>
              <a:gd name="connsiteY62" fmla="*/ 2642955 h 13491341"/>
              <a:gd name="connsiteX63" fmla="*/ 5978286 w 11088796"/>
              <a:gd name="connsiteY63" fmla="*/ 2454748 h 13491341"/>
              <a:gd name="connsiteX64" fmla="*/ 1124504 w 11088796"/>
              <a:gd name="connsiteY64" fmla="*/ 2113497 h 13491341"/>
              <a:gd name="connsiteX65" fmla="*/ 1366063 w 11088796"/>
              <a:gd name="connsiteY65" fmla="*/ 2195470 h 13491341"/>
              <a:gd name="connsiteX66" fmla="*/ 10938820 w 11088796"/>
              <a:gd name="connsiteY66" fmla="*/ 9488219 h 13491341"/>
              <a:gd name="connsiteX67" fmla="*/ 10982418 w 11088796"/>
              <a:gd name="connsiteY67" fmla="*/ 10098117 h 13491341"/>
              <a:gd name="connsiteX68" fmla="*/ 10366800 w 11088796"/>
              <a:gd name="connsiteY68" fmla="*/ 10239076 h 13491341"/>
              <a:gd name="connsiteX69" fmla="*/ 794043 w 11088796"/>
              <a:gd name="connsiteY69" fmla="*/ 2946327 h 13491341"/>
              <a:gd name="connsiteX70" fmla="*/ 744627 w 11088796"/>
              <a:gd name="connsiteY70" fmla="*/ 2298728 h 13491341"/>
              <a:gd name="connsiteX71" fmla="*/ 1124504 w 11088796"/>
              <a:gd name="connsiteY71" fmla="*/ 2113497 h 13491341"/>
              <a:gd name="connsiteX72" fmla="*/ 7356102 w 11088796"/>
              <a:gd name="connsiteY72" fmla="*/ 1797588 h 13491341"/>
              <a:gd name="connsiteX73" fmla="*/ 7581448 w 11088796"/>
              <a:gd name="connsiteY73" fmla="*/ 1868497 h 13491341"/>
              <a:gd name="connsiteX74" fmla="*/ 9593352 w 11088796"/>
              <a:gd name="connsiteY74" fmla="*/ 3401213 h 13491341"/>
              <a:gd name="connsiteX75" fmla="*/ 9637536 w 11088796"/>
              <a:gd name="connsiteY75" fmla="*/ 4008670 h 13491341"/>
              <a:gd name="connsiteX76" fmla="*/ 9021352 w 11088796"/>
              <a:gd name="connsiteY76" fmla="*/ 4152044 h 13491341"/>
              <a:gd name="connsiteX77" fmla="*/ 7009448 w 11088796"/>
              <a:gd name="connsiteY77" fmla="*/ 2619328 h 13491341"/>
              <a:gd name="connsiteX78" fmla="*/ 6984064 w 11088796"/>
              <a:gd name="connsiteY78" fmla="*/ 1987194 h 13491341"/>
              <a:gd name="connsiteX79" fmla="*/ 7356102 w 11088796"/>
              <a:gd name="connsiteY79" fmla="*/ 1797588 h 13491341"/>
              <a:gd name="connsiteX80" fmla="*/ 8626238 w 11088796"/>
              <a:gd name="connsiteY80" fmla="*/ 1077861 h 13491341"/>
              <a:gd name="connsiteX81" fmla="*/ 8867664 w 11088796"/>
              <a:gd name="connsiteY81" fmla="*/ 1161018 h 13491341"/>
              <a:gd name="connsiteX82" fmla="*/ 9942284 w 11088796"/>
              <a:gd name="connsiteY82" fmla="*/ 1979689 h 13491341"/>
              <a:gd name="connsiteX83" fmla="*/ 10009308 w 11088796"/>
              <a:gd name="connsiteY83" fmla="*/ 2604557 h 13491341"/>
              <a:gd name="connsiteX84" fmla="*/ 9370276 w 11088796"/>
              <a:gd name="connsiteY84" fmla="*/ 2730530 h 13491341"/>
              <a:gd name="connsiteX85" fmla="*/ 8295656 w 11088796"/>
              <a:gd name="connsiteY85" fmla="*/ 1911858 h 13491341"/>
              <a:gd name="connsiteX86" fmla="*/ 8250554 w 11088796"/>
              <a:gd name="connsiteY86" fmla="*/ 1264696 h 13491341"/>
              <a:gd name="connsiteX87" fmla="*/ 8626238 w 11088796"/>
              <a:gd name="connsiteY87" fmla="*/ 1077861 h 13491341"/>
              <a:gd name="connsiteX88" fmla="*/ 9447378 w 11088796"/>
              <a:gd name="connsiteY88" fmla="*/ 1 h 13491341"/>
              <a:gd name="connsiteX89" fmla="*/ 9689796 w 11088796"/>
              <a:gd name="connsiteY89" fmla="*/ 81858 h 13491341"/>
              <a:gd name="connsiteX90" fmla="*/ 10764416 w 11088796"/>
              <a:gd name="connsiteY90" fmla="*/ 900529 h 13491341"/>
              <a:gd name="connsiteX91" fmla="*/ 10812642 w 11088796"/>
              <a:gd name="connsiteY91" fmla="*/ 1550070 h 13491341"/>
              <a:gd name="connsiteX92" fmla="*/ 10192408 w 11088796"/>
              <a:gd name="connsiteY92" fmla="*/ 1651368 h 13491341"/>
              <a:gd name="connsiteX93" fmla="*/ 9117788 w 11088796"/>
              <a:gd name="connsiteY93" fmla="*/ 832697 h 13491341"/>
              <a:gd name="connsiteX94" fmla="*/ 9053888 w 11088796"/>
              <a:gd name="connsiteY94" fmla="*/ 210211 h 13491341"/>
              <a:gd name="connsiteX95" fmla="*/ 9447378 w 11088796"/>
              <a:gd name="connsiteY95" fmla="*/ 1 h 1349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1088796" h="13491341">
                <a:moveTo>
                  <a:pt x="490691" y="11756903"/>
                </a:moveTo>
                <a:cubicBezTo>
                  <a:pt x="576640" y="11756478"/>
                  <a:pt x="661187" y="11782498"/>
                  <a:pt x="733817" y="11837830"/>
                </a:cubicBezTo>
                <a:cubicBezTo>
                  <a:pt x="733817" y="11837830"/>
                  <a:pt x="733817" y="11837830"/>
                  <a:pt x="1808437" y="12656501"/>
                </a:cubicBezTo>
                <a:cubicBezTo>
                  <a:pt x="2002119" y="12804053"/>
                  <a:pt x="2020477" y="13091014"/>
                  <a:pt x="1856663" y="13306044"/>
                </a:cubicBezTo>
                <a:cubicBezTo>
                  <a:pt x="1708962" y="13499922"/>
                  <a:pt x="1430112" y="13554893"/>
                  <a:pt x="1236430" y="13407341"/>
                </a:cubicBezTo>
                <a:cubicBezTo>
                  <a:pt x="1236430" y="13407341"/>
                  <a:pt x="1236430" y="13407341"/>
                  <a:pt x="161810" y="12588671"/>
                </a:cubicBezTo>
                <a:cubicBezTo>
                  <a:pt x="-31872" y="12441120"/>
                  <a:pt x="-49792" y="12160062"/>
                  <a:pt x="97910" y="11966183"/>
                </a:cubicBezTo>
                <a:cubicBezTo>
                  <a:pt x="200294" y="11831790"/>
                  <a:pt x="347442" y="11757613"/>
                  <a:pt x="490691" y="11756903"/>
                </a:cubicBezTo>
                <a:close/>
                <a:moveTo>
                  <a:pt x="1287637" y="10710803"/>
                </a:moveTo>
                <a:cubicBezTo>
                  <a:pt x="1369716" y="10715457"/>
                  <a:pt x="1451110" y="10745615"/>
                  <a:pt x="1523741" y="10800947"/>
                </a:cubicBezTo>
                <a:cubicBezTo>
                  <a:pt x="1523741" y="10800947"/>
                  <a:pt x="1523741" y="10800947"/>
                  <a:pt x="2598361" y="11619618"/>
                </a:cubicBezTo>
                <a:cubicBezTo>
                  <a:pt x="2792042" y="11767170"/>
                  <a:pt x="2832808" y="12024717"/>
                  <a:pt x="2667707" y="12241437"/>
                </a:cubicBezTo>
                <a:cubicBezTo>
                  <a:pt x="2521245" y="12433688"/>
                  <a:pt x="2243477" y="12487239"/>
                  <a:pt x="2049794" y="12339687"/>
                </a:cubicBezTo>
                <a:cubicBezTo>
                  <a:pt x="2049794" y="12339687"/>
                  <a:pt x="2049794" y="12339687"/>
                  <a:pt x="975175" y="11521017"/>
                </a:cubicBezTo>
                <a:cubicBezTo>
                  <a:pt x="781493" y="11373465"/>
                  <a:pt x="762492" y="11093830"/>
                  <a:pt x="908953" y="10901578"/>
                </a:cubicBezTo>
                <a:cubicBezTo>
                  <a:pt x="1012143" y="10766128"/>
                  <a:pt x="1150840" y="10703045"/>
                  <a:pt x="1287637" y="10710803"/>
                </a:cubicBezTo>
                <a:close/>
                <a:moveTo>
                  <a:pt x="1721569" y="9334566"/>
                </a:moveTo>
                <a:cubicBezTo>
                  <a:pt x="1803463" y="9333793"/>
                  <a:pt x="1882852" y="9356669"/>
                  <a:pt x="1947183" y="9405678"/>
                </a:cubicBezTo>
                <a:cubicBezTo>
                  <a:pt x="1947183" y="9405678"/>
                  <a:pt x="1947183" y="9405678"/>
                  <a:pt x="3834230" y="10843275"/>
                </a:cubicBezTo>
                <a:cubicBezTo>
                  <a:pt x="4005780" y="10973966"/>
                  <a:pt x="4026594" y="11257225"/>
                  <a:pt x="3878894" y="11451101"/>
                </a:cubicBezTo>
                <a:cubicBezTo>
                  <a:pt x="3712398" y="11669653"/>
                  <a:pt x="3433780" y="11724797"/>
                  <a:pt x="3262230" y="11594106"/>
                </a:cubicBezTo>
                <a:cubicBezTo>
                  <a:pt x="3262230" y="11594106"/>
                  <a:pt x="3262230" y="11594106"/>
                  <a:pt x="1375183" y="10156508"/>
                </a:cubicBezTo>
                <a:cubicBezTo>
                  <a:pt x="1203633" y="10025818"/>
                  <a:pt x="1182818" y="9742560"/>
                  <a:pt x="1349316" y="9524008"/>
                </a:cubicBezTo>
                <a:cubicBezTo>
                  <a:pt x="1441628" y="9402835"/>
                  <a:pt x="1585080" y="9335855"/>
                  <a:pt x="1721569" y="9334566"/>
                </a:cubicBezTo>
                <a:close/>
                <a:moveTo>
                  <a:pt x="2101387" y="7936576"/>
                </a:moveTo>
                <a:cubicBezTo>
                  <a:pt x="2186631" y="7938355"/>
                  <a:pt x="2271321" y="7965270"/>
                  <a:pt x="2344041" y="8020670"/>
                </a:cubicBezTo>
                <a:cubicBezTo>
                  <a:pt x="2344041" y="8020670"/>
                  <a:pt x="2344041" y="8020670"/>
                  <a:pt x="5052676" y="10084172"/>
                </a:cubicBezTo>
                <a:cubicBezTo>
                  <a:pt x="5246596" y="10231905"/>
                  <a:pt x="5267826" y="10515482"/>
                  <a:pt x="5120124" y="10709361"/>
                </a:cubicBezTo>
                <a:cubicBezTo>
                  <a:pt x="4953624" y="10927915"/>
                  <a:pt x="4674590" y="10982744"/>
                  <a:pt x="4480668" y="10835011"/>
                </a:cubicBezTo>
                <a:cubicBezTo>
                  <a:pt x="4480668" y="10835011"/>
                  <a:pt x="4480668" y="10835011"/>
                  <a:pt x="1772034" y="8771509"/>
                </a:cubicBezTo>
                <a:cubicBezTo>
                  <a:pt x="1578113" y="8623776"/>
                  <a:pt x="1556883" y="8340198"/>
                  <a:pt x="1723383" y="8121644"/>
                </a:cubicBezTo>
                <a:cubicBezTo>
                  <a:pt x="1815697" y="8000470"/>
                  <a:pt x="1959313" y="7933611"/>
                  <a:pt x="2101387" y="7936576"/>
                </a:cubicBezTo>
                <a:close/>
                <a:moveTo>
                  <a:pt x="1945410" y="6115309"/>
                </a:moveTo>
                <a:cubicBezTo>
                  <a:pt x="2031653" y="6115412"/>
                  <a:pt x="2116421" y="6141783"/>
                  <a:pt x="2188908" y="6197004"/>
                </a:cubicBezTo>
                <a:cubicBezTo>
                  <a:pt x="2188908" y="6197004"/>
                  <a:pt x="2188908" y="6197004"/>
                  <a:pt x="6859286" y="9755006"/>
                </a:cubicBezTo>
                <a:cubicBezTo>
                  <a:pt x="7052586" y="9902268"/>
                  <a:pt x="7052554" y="10173950"/>
                  <a:pt x="6889502" y="10387978"/>
                </a:cubicBezTo>
                <a:cubicBezTo>
                  <a:pt x="6742488" y="10580955"/>
                  <a:pt x="6480566" y="10653123"/>
                  <a:pt x="6287266" y="10505862"/>
                </a:cubicBezTo>
                <a:cubicBezTo>
                  <a:pt x="6287266" y="10505862"/>
                  <a:pt x="6287266" y="10505862"/>
                  <a:pt x="1616888" y="6947860"/>
                </a:cubicBezTo>
                <a:cubicBezTo>
                  <a:pt x="1423588" y="6800599"/>
                  <a:pt x="1404912" y="6514668"/>
                  <a:pt x="1551927" y="6321692"/>
                </a:cubicBezTo>
                <a:cubicBezTo>
                  <a:pt x="1653834" y="6187921"/>
                  <a:pt x="1801671" y="6115135"/>
                  <a:pt x="1945410" y="6115309"/>
                </a:cubicBezTo>
                <a:close/>
                <a:moveTo>
                  <a:pt x="1120711" y="3826332"/>
                </a:moveTo>
                <a:cubicBezTo>
                  <a:pt x="1205571" y="3828346"/>
                  <a:pt x="1289952" y="3855341"/>
                  <a:pt x="1362501" y="3910611"/>
                </a:cubicBezTo>
                <a:cubicBezTo>
                  <a:pt x="1362501" y="3910611"/>
                  <a:pt x="1362501" y="3910611"/>
                  <a:pt x="9297658" y="9955798"/>
                </a:cubicBezTo>
                <a:cubicBezTo>
                  <a:pt x="9491122" y="10103183"/>
                  <a:pt x="9491234" y="10368433"/>
                  <a:pt x="9344772" y="10560687"/>
                </a:cubicBezTo>
                <a:cubicBezTo>
                  <a:pt x="9179666" y="10777410"/>
                  <a:pt x="8942548" y="10823263"/>
                  <a:pt x="8749084" y="10675877"/>
                </a:cubicBezTo>
                <a:cubicBezTo>
                  <a:pt x="8749084" y="10675877"/>
                  <a:pt x="8749084" y="10675877"/>
                  <a:pt x="813928" y="4630689"/>
                </a:cubicBezTo>
                <a:cubicBezTo>
                  <a:pt x="620463" y="4483305"/>
                  <a:pt x="579867" y="4225882"/>
                  <a:pt x="744971" y="4009160"/>
                </a:cubicBezTo>
                <a:cubicBezTo>
                  <a:pt x="836511" y="3889001"/>
                  <a:pt x="979277" y="3822972"/>
                  <a:pt x="1120711" y="3826332"/>
                </a:cubicBezTo>
                <a:close/>
                <a:moveTo>
                  <a:pt x="4227254" y="2790686"/>
                </a:moveTo>
                <a:cubicBezTo>
                  <a:pt x="4310200" y="2788659"/>
                  <a:pt x="4389662" y="2811590"/>
                  <a:pt x="4454070" y="2860658"/>
                </a:cubicBezTo>
                <a:cubicBezTo>
                  <a:pt x="4454070" y="2860658"/>
                  <a:pt x="4454070" y="2860658"/>
                  <a:pt x="9475564" y="6686148"/>
                </a:cubicBezTo>
                <a:cubicBezTo>
                  <a:pt x="9647320" y="6816995"/>
                  <a:pt x="9671436" y="7102770"/>
                  <a:pt x="9504938" y="7321320"/>
                </a:cubicBezTo>
                <a:cubicBezTo>
                  <a:pt x="9357238" y="7515197"/>
                  <a:pt x="9075320" y="7567825"/>
                  <a:pt x="8903564" y="7436978"/>
                </a:cubicBezTo>
                <a:cubicBezTo>
                  <a:pt x="8903564" y="7436978"/>
                  <a:pt x="8903564" y="7436978"/>
                  <a:pt x="3882070" y="3611488"/>
                </a:cubicBezTo>
                <a:cubicBezTo>
                  <a:pt x="3710313" y="3480640"/>
                  <a:pt x="3689321" y="3197246"/>
                  <a:pt x="3837020" y="3003370"/>
                </a:cubicBezTo>
                <a:cubicBezTo>
                  <a:pt x="3941082" y="2866775"/>
                  <a:pt x="4089010" y="2794065"/>
                  <a:pt x="4227254" y="2790686"/>
                </a:cubicBezTo>
                <a:close/>
                <a:moveTo>
                  <a:pt x="5978286" y="2454748"/>
                </a:moveTo>
                <a:cubicBezTo>
                  <a:pt x="6060956" y="2459853"/>
                  <a:pt x="6142436" y="2490076"/>
                  <a:pt x="6213830" y="2544466"/>
                </a:cubicBezTo>
                <a:cubicBezTo>
                  <a:pt x="6213830" y="2544466"/>
                  <a:pt x="6213830" y="2544466"/>
                  <a:pt x="9303674" y="4898383"/>
                </a:cubicBezTo>
                <a:cubicBezTo>
                  <a:pt x="9497180" y="5045798"/>
                  <a:pt x="9515962" y="5286598"/>
                  <a:pt x="9350860" y="5503319"/>
                </a:cubicBezTo>
                <a:cubicBezTo>
                  <a:pt x="9204398" y="5695570"/>
                  <a:pt x="8948614" y="5765868"/>
                  <a:pt x="8755108" y="5618451"/>
                </a:cubicBezTo>
                <a:cubicBezTo>
                  <a:pt x="8755108" y="5618451"/>
                  <a:pt x="8755108" y="5618451"/>
                  <a:pt x="5665264" y="3264535"/>
                </a:cubicBezTo>
                <a:cubicBezTo>
                  <a:pt x="5474880" y="3119496"/>
                  <a:pt x="5449770" y="2835207"/>
                  <a:pt x="5596232" y="2642955"/>
                </a:cubicBezTo>
                <a:cubicBezTo>
                  <a:pt x="5699420" y="2507505"/>
                  <a:pt x="5840504" y="2446239"/>
                  <a:pt x="5978286" y="2454748"/>
                </a:cubicBezTo>
                <a:close/>
                <a:moveTo>
                  <a:pt x="1124504" y="2113497"/>
                </a:moveTo>
                <a:cubicBezTo>
                  <a:pt x="1210071" y="2114841"/>
                  <a:pt x="1294642" y="2141060"/>
                  <a:pt x="1366063" y="2195470"/>
                </a:cubicBezTo>
                <a:cubicBezTo>
                  <a:pt x="1366063" y="2195470"/>
                  <a:pt x="1366063" y="2195470"/>
                  <a:pt x="10938820" y="9488219"/>
                </a:cubicBezTo>
                <a:cubicBezTo>
                  <a:pt x="11132398" y="9635692"/>
                  <a:pt x="11129432" y="9905139"/>
                  <a:pt x="10982418" y="10098117"/>
                </a:cubicBezTo>
                <a:cubicBezTo>
                  <a:pt x="10819366" y="10312145"/>
                  <a:pt x="10560378" y="10386547"/>
                  <a:pt x="10366800" y="10239076"/>
                </a:cubicBezTo>
                <a:cubicBezTo>
                  <a:pt x="10366800" y="10239076"/>
                  <a:pt x="10366800" y="10239076"/>
                  <a:pt x="794043" y="2946327"/>
                </a:cubicBezTo>
                <a:cubicBezTo>
                  <a:pt x="603587" y="2801233"/>
                  <a:pt x="581575" y="2512756"/>
                  <a:pt x="744627" y="2298728"/>
                </a:cubicBezTo>
                <a:cubicBezTo>
                  <a:pt x="836511" y="2178117"/>
                  <a:pt x="981892" y="2111258"/>
                  <a:pt x="1124504" y="2113497"/>
                </a:cubicBezTo>
                <a:close/>
                <a:moveTo>
                  <a:pt x="7356102" y="1797588"/>
                </a:moveTo>
                <a:cubicBezTo>
                  <a:pt x="7437918" y="1796756"/>
                  <a:pt x="7517214" y="1819562"/>
                  <a:pt x="7581448" y="1868497"/>
                </a:cubicBezTo>
                <a:cubicBezTo>
                  <a:pt x="7581448" y="1868497"/>
                  <a:pt x="7581448" y="1868497"/>
                  <a:pt x="9593352" y="3401213"/>
                </a:cubicBezTo>
                <a:cubicBezTo>
                  <a:pt x="9764644" y="3531709"/>
                  <a:pt x="9785234" y="3814795"/>
                  <a:pt x="9637536" y="4008670"/>
                </a:cubicBezTo>
                <a:cubicBezTo>
                  <a:pt x="9471038" y="4227222"/>
                  <a:pt x="9192646" y="4282538"/>
                  <a:pt x="9021352" y="4152044"/>
                </a:cubicBezTo>
                <a:cubicBezTo>
                  <a:pt x="9021352" y="4152044"/>
                  <a:pt x="9021352" y="4152044"/>
                  <a:pt x="7009448" y="2619328"/>
                </a:cubicBezTo>
                <a:cubicBezTo>
                  <a:pt x="6838156" y="2488833"/>
                  <a:pt x="6817566" y="2205746"/>
                  <a:pt x="6984064" y="1987194"/>
                </a:cubicBezTo>
                <a:cubicBezTo>
                  <a:pt x="7076376" y="1866022"/>
                  <a:pt x="7219740" y="1798975"/>
                  <a:pt x="7356102" y="1797588"/>
                </a:cubicBezTo>
                <a:close/>
                <a:moveTo>
                  <a:pt x="8626238" y="1077861"/>
                </a:moveTo>
                <a:cubicBezTo>
                  <a:pt x="8710866" y="1079170"/>
                  <a:pt x="8795034" y="1105687"/>
                  <a:pt x="8867664" y="1161018"/>
                </a:cubicBezTo>
                <a:cubicBezTo>
                  <a:pt x="8867664" y="1161018"/>
                  <a:pt x="8867664" y="1161018"/>
                  <a:pt x="9942284" y="1979689"/>
                </a:cubicBezTo>
                <a:cubicBezTo>
                  <a:pt x="10135964" y="2127242"/>
                  <a:pt x="10157008" y="2410678"/>
                  <a:pt x="10009308" y="2604557"/>
                </a:cubicBezTo>
                <a:cubicBezTo>
                  <a:pt x="9842808" y="2823111"/>
                  <a:pt x="9563958" y="2878081"/>
                  <a:pt x="9370276" y="2730530"/>
                </a:cubicBezTo>
                <a:cubicBezTo>
                  <a:pt x="9370276" y="2730530"/>
                  <a:pt x="9370276" y="2730530"/>
                  <a:pt x="8295656" y="1911858"/>
                </a:cubicBezTo>
                <a:cubicBezTo>
                  <a:pt x="8101974" y="1764307"/>
                  <a:pt x="8084054" y="1483251"/>
                  <a:pt x="8250554" y="1264696"/>
                </a:cubicBezTo>
                <a:cubicBezTo>
                  <a:pt x="8342868" y="1143522"/>
                  <a:pt x="8485190" y="1075680"/>
                  <a:pt x="8626238" y="1077861"/>
                </a:cubicBezTo>
                <a:close/>
                <a:moveTo>
                  <a:pt x="9447378" y="1"/>
                </a:moveTo>
                <a:cubicBezTo>
                  <a:pt x="9532998" y="9"/>
                  <a:pt x="9617166" y="26526"/>
                  <a:pt x="9689796" y="81858"/>
                </a:cubicBezTo>
                <a:cubicBezTo>
                  <a:pt x="9689796" y="81858"/>
                  <a:pt x="9689796" y="81858"/>
                  <a:pt x="10764416" y="900529"/>
                </a:cubicBezTo>
                <a:cubicBezTo>
                  <a:pt x="10958096" y="1048080"/>
                  <a:pt x="10979140" y="1331516"/>
                  <a:pt x="10812642" y="1550070"/>
                </a:cubicBezTo>
                <a:cubicBezTo>
                  <a:pt x="10664940" y="1743949"/>
                  <a:pt x="10386090" y="1798919"/>
                  <a:pt x="10192408" y="1651368"/>
                </a:cubicBezTo>
                <a:cubicBezTo>
                  <a:pt x="10192408" y="1651368"/>
                  <a:pt x="10192408" y="1651368"/>
                  <a:pt x="9117788" y="832697"/>
                </a:cubicBezTo>
                <a:cubicBezTo>
                  <a:pt x="8924106" y="685146"/>
                  <a:pt x="8906186" y="404090"/>
                  <a:pt x="9053888" y="210211"/>
                </a:cubicBezTo>
                <a:cubicBezTo>
                  <a:pt x="9157950" y="73615"/>
                  <a:pt x="9304680" y="-11"/>
                  <a:pt x="9447378" y="1"/>
                </a:cubicBezTo>
                <a:close/>
              </a:path>
            </a:pathLst>
          </a:custGeom>
          <a:effectLst/>
        </p:spPr>
        <p:txBody>
          <a:bodyPr wrap="square">
            <a:noAutofit/>
          </a:bodyPr>
          <a:lstStyle>
            <a:lvl1pPr marL="0" indent="0">
              <a:buNone/>
              <a:defRPr sz="1575">
                <a:ln>
                  <a:noFill/>
                </a:ln>
                <a:solidFill>
                  <a:schemeClr val="bg1">
                    <a:lumMod val="85000"/>
                  </a:schemeClr>
                </a:solidFill>
                <a:latin typeface="Lato Light" charset="0"/>
                <a:ea typeface="Lato Light" charset="0"/>
                <a:cs typeface="Lato Light" charset="0"/>
              </a:defRPr>
            </a:lvl1pPr>
          </a:lstStyle>
          <a:p>
            <a:pPr lvl="0"/>
            <a:endParaRPr lang="en-US" noProof="0"/>
          </a:p>
        </p:txBody>
      </p:sp>
    </p:spTree>
    <p:extLst>
      <p:ext uri="{BB962C8B-B14F-4D97-AF65-F5344CB8AC3E}">
        <p14:creationId xmlns:p14="http://schemas.microsoft.com/office/powerpoint/2010/main" val="19752083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E15569-5CA8-4605-A626-660820F6E4D1}"/>
              </a:ext>
            </a:extLst>
          </p:cNvPr>
          <p:cNvSpPr>
            <a:spLocks noGrp="1"/>
          </p:cNvSpPr>
          <p:nvPr>
            <p:ph type="body" sz="quarter" idx="10" hasCustomPrompt="1"/>
          </p:nvPr>
        </p:nvSpPr>
        <p:spPr>
          <a:xfrm>
            <a:off x="393700" y="366541"/>
            <a:ext cx="11404600" cy="360000"/>
          </a:xfrm>
          <a:prstGeom prst="rect">
            <a:avLst/>
          </a:prstGeom>
        </p:spPr>
        <p:txBody>
          <a:bodyPr vert="horz" lIns="0" tIns="0" rIns="0" bIns="0" rtlCol="0" anchor="t">
            <a:noAutofit/>
          </a:bodyPr>
          <a:lstStyle>
            <a:lvl1pPr marL="0" indent="0">
              <a:buNone/>
              <a:defRPr lang="en-US" sz="2500" b="1" smtClean="0">
                <a:latin typeface="+mj-lt"/>
                <a:ea typeface="+mj-ea"/>
                <a:cs typeface="+mj-cs"/>
              </a:defRPr>
            </a:lvl1pPr>
            <a:lvl2pPr>
              <a:defRPr lang="en-US" smtClean="0"/>
            </a:lvl2pPr>
            <a:lvl3pPr>
              <a:defRPr lang="en-US" smtClean="0"/>
            </a:lvl3pPr>
            <a:lvl4pPr>
              <a:defRPr lang="en-US" smtClean="0"/>
            </a:lvl4pPr>
            <a:lvl5pPr>
              <a:defRPr lang="en-GB"/>
            </a:lvl5pPr>
          </a:lstStyle>
          <a:p>
            <a:pPr marL="152400" lvl="0" indent="-152400">
              <a:lnSpc>
                <a:spcPct val="90000"/>
              </a:lnSpc>
              <a:spcBef>
                <a:spcPct val="0"/>
              </a:spcBef>
            </a:pPr>
            <a:r>
              <a:rPr lang="en-US"/>
              <a:t>Add title</a:t>
            </a:r>
            <a:endParaRPr lang="en-GB"/>
          </a:p>
        </p:txBody>
      </p:sp>
    </p:spTree>
    <p:extLst>
      <p:ext uri="{BB962C8B-B14F-4D97-AF65-F5344CB8AC3E}">
        <p14:creationId xmlns:p14="http://schemas.microsoft.com/office/powerpoint/2010/main" val="425832262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46B626-92F4-449F-9587-B342F55F9C4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46B626-92F4-449F-9587-B342F55F9C4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92F64031-640B-4962-8CF9-EAD8AB4A604D}" type="datetimeFigureOut">
              <a:rPr lang="en-GB" smtClean="0"/>
              <a:t>08/09/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8F0A42-4B1E-4613-8C4D-AAA004DCF1D5}" type="slidenum">
              <a:rPr lang="en-GB" smtClean="0"/>
              <a:t>‹#›</a:t>
            </a:fld>
            <a:endParaRPr lang="en-GB"/>
          </a:p>
        </p:txBody>
      </p:sp>
    </p:spTree>
    <p:extLst>
      <p:ext uri="{BB962C8B-B14F-4D97-AF65-F5344CB8AC3E}">
        <p14:creationId xmlns:p14="http://schemas.microsoft.com/office/powerpoint/2010/main" val="3072655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A6F6840C-DE8F-4983-AB01-20F2DF0D4848}"/>
              </a:ext>
            </a:extLst>
          </p:cNvPr>
          <p:cNvPicPr>
            <a:picLocks noChangeAspect="1"/>
          </p:cNvPicPr>
          <p:nvPr userDrawn="1"/>
        </p:nvPicPr>
        <p:blipFill rotWithShape="1">
          <a:blip r:embed="rId5"/>
          <a:srcRect t="7027"/>
          <a:stretch/>
        </p:blipFill>
        <p:spPr>
          <a:xfrm>
            <a:off x="48126" y="808613"/>
            <a:ext cx="11998993" cy="5240774"/>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4"/>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2A0BC6A-E73C-40BA-BB29-6604DE19F585}"/>
              </a:ext>
            </a:extLst>
          </p:cNvPr>
          <p:cNvPicPr/>
          <p:nvPr userDrawn="1"/>
        </p:nvPicPr>
        <p:blipFill rotWithShape="1">
          <a:blip r:embed="rId2" cstate="print">
            <a:extLst>
              <a:ext uri="{28A0092B-C50C-407E-A947-70E740481C1C}">
                <a14:useLocalDpi xmlns:a14="http://schemas.microsoft.com/office/drawing/2010/main" val="0"/>
              </a:ext>
            </a:extLst>
          </a:blip>
          <a:srcRect l="4364" r="2644" b="1491"/>
          <a:stretch/>
        </p:blipFill>
        <p:spPr>
          <a:xfrm>
            <a:off x="7786456" y="5591279"/>
            <a:ext cx="4391025" cy="1281234"/>
          </a:xfrm>
          <a:prstGeom prst="rect">
            <a:avLst/>
          </a:prstGeom>
        </p:spPr>
      </p:pic>
    </p:spTree>
    <p:extLst>
      <p:ext uri="{BB962C8B-B14F-4D97-AF65-F5344CB8AC3E}">
        <p14:creationId xmlns:p14="http://schemas.microsoft.com/office/powerpoint/2010/main" val="3501480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8-Sep-21</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19674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9.xml"/><Relationship Id="rId7" Type="http://schemas.openxmlformats.org/officeDocument/2006/relationships/tags" Target="../tags/tag6.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5.xml"/><Relationship Id="rId5" Type="http://schemas.openxmlformats.org/officeDocument/2006/relationships/theme" Target="../theme/theme2.xml"/><Relationship Id="rId10" Type="http://schemas.openxmlformats.org/officeDocument/2006/relationships/image" Target="../media/image2.jpeg"/><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3" name="Picture 12">
            <a:extLst>
              <a:ext uri="{FF2B5EF4-FFF2-40B4-BE49-F238E27FC236}">
                <a16:creationId xmlns:a16="http://schemas.microsoft.com/office/drawing/2014/main" id="{23304A6A-D15B-47E1-B072-1C47E2C76553}"/>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a:xfrm>
            <a:off x="10755433" y="31710"/>
            <a:ext cx="1428750" cy="596265"/>
          </a:xfrm>
          <a:prstGeom prst="rect">
            <a:avLst/>
          </a:prstGeom>
        </p:spPr>
      </p:pic>
    </p:spTree>
    <p:extLst>
      <p:ext uri="{BB962C8B-B14F-4D97-AF65-F5344CB8AC3E}">
        <p14:creationId xmlns:p14="http://schemas.microsoft.com/office/powerpoint/2010/main" val="29283271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6" name="Object 5"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4" name="Picture 13">
            <a:extLst>
              <a:ext uri="{FF2B5EF4-FFF2-40B4-BE49-F238E27FC236}">
                <a16:creationId xmlns:a16="http://schemas.microsoft.com/office/drawing/2014/main" id="{FDFCD0C7-445F-4A14-9C86-5CF981271CEE}"/>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a:xfrm>
            <a:off x="10736027" y="18414"/>
            <a:ext cx="1428750" cy="596265"/>
          </a:xfrm>
          <a:prstGeom prst="rect">
            <a:avLst/>
          </a:prstGeom>
        </p:spPr>
      </p:pic>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1" r:id="rId3"/>
    <p:sldLayoutId id="2147483673" r:id="rId4"/>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 name="Google Shape;40;p5">
            <a:extLst>
              <a:ext uri="{FF2B5EF4-FFF2-40B4-BE49-F238E27FC236}">
                <a16:creationId xmlns:a16="http://schemas.microsoft.com/office/drawing/2014/main" id="{C9607DE2-A059-4BE3-9904-5486CE512E28}"/>
              </a:ext>
            </a:extLst>
          </p:cNvPr>
          <p:cNvSpPr txBox="1">
            <a:spLocks/>
          </p:cNvSpPr>
          <p:nvPr/>
        </p:nvSpPr>
        <p:spPr>
          <a:xfrm>
            <a:off x="34416" y="2246669"/>
            <a:ext cx="5530645" cy="1652451"/>
          </a:xfrm>
          <a:prstGeom prst="rect">
            <a:avLst/>
          </a:prstGeom>
          <a:noFill/>
          <a:ln>
            <a:noFill/>
          </a:ln>
        </p:spPr>
        <p:txBody>
          <a:bodyPr spcFirstLastPara="1" vert="horz" wrap="square" lIns="15225" tIns="7600" rIns="15225" bIns="7600" rtlCol="0" anchor="b" anchorCtr="0">
            <a:noAutofit/>
          </a:bodyPr>
          <a:lst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a:lstStyle>
          <a:p>
            <a:pPr algn="ctr"/>
            <a:r>
              <a:rPr lang="en-US" sz="3600" dirty="0">
                <a:solidFill>
                  <a:schemeClr val="bg1"/>
                </a:solidFill>
                <a:latin typeface="Gotham Light" pitchFamily="50" charset="0"/>
              </a:rPr>
              <a:t>Introduction to Statistical Thinking</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6351" y="6101561"/>
            <a:ext cx="12193443" cy="624786"/>
          </a:xfrm>
        </p:spPr>
        <p:txBody>
          <a:bodyPr/>
          <a:lstStyle/>
          <a:p>
            <a:r>
              <a:rPr lang="en-US" sz="4400" dirty="0">
                <a:solidFill>
                  <a:srgbClr val="0070C0"/>
                </a:solidFill>
              </a:rPr>
              <a:t>Correlation analysis</a:t>
            </a:r>
            <a:endParaRPr lang="en-GB" sz="4400" dirty="0">
              <a:solidFill>
                <a:srgbClr val="0070C0"/>
              </a:solidFill>
            </a:endParaRP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840219"/>
            <a:ext cx="11681633" cy="3709349"/>
          </a:xfrm>
          <a:prstGeom prst="rect">
            <a:avLst/>
          </a:prstGeom>
        </p:spPr>
        <p:txBody>
          <a:bodyPr wrap="square">
            <a:spAutoFit/>
          </a:bodyPr>
          <a:lstStyle/>
          <a:p>
            <a:pPr algn="just">
              <a:lnSpc>
                <a:spcPct val="150000"/>
              </a:lnSpc>
            </a:pPr>
            <a:r>
              <a:rPr lang="en-US" sz="3200" dirty="0"/>
              <a:t>Correlation measures the strength and direction of the statistical linear relationship between two or more variables in the data. For example, you may want to measure the correlation between height and weight of women in Uganda. We can measure the degree of correlation by using Pearson correlation coefficient. </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15551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correlation?</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036655"/>
            <a:ext cx="11681633" cy="5186676"/>
          </a:xfrm>
          <a:prstGeom prst="rect">
            <a:avLst/>
          </a:prstGeom>
        </p:spPr>
        <p:txBody>
          <a:bodyPr wrap="square">
            <a:spAutoFit/>
          </a:bodyPr>
          <a:lstStyle/>
          <a:p>
            <a:pPr algn="just">
              <a:lnSpc>
                <a:spcPct val="150000"/>
              </a:lnSpc>
            </a:pPr>
            <a:r>
              <a:rPr lang="en-US" sz="3200" dirty="0"/>
              <a:t>The correlation coefficient (r) can take any values from -1 to 1. The interpretations of the values are:</a:t>
            </a:r>
          </a:p>
          <a:p>
            <a:pPr algn="just">
              <a:lnSpc>
                <a:spcPct val="150000"/>
              </a:lnSpc>
            </a:pPr>
            <a:r>
              <a:rPr lang="en-US" sz="3200" dirty="0"/>
              <a:t>-1: Perfect negative correlation. The variables tend to move in opposite directions (i.e., when one variable increases, the other variable decreases).</a:t>
            </a:r>
          </a:p>
          <a:p>
            <a:pPr algn="just">
              <a:lnSpc>
                <a:spcPct val="150000"/>
              </a:lnSpc>
            </a:pPr>
            <a:r>
              <a:rPr lang="en-US" sz="3200" dirty="0"/>
              <a:t>0: No correlation. The variables do not have a relationship with each other.</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correlation?</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3853858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13957" y="870400"/>
            <a:ext cx="11681633" cy="5186676"/>
          </a:xfrm>
          <a:prstGeom prst="rect">
            <a:avLst/>
          </a:prstGeom>
        </p:spPr>
        <p:txBody>
          <a:bodyPr wrap="square">
            <a:spAutoFit/>
          </a:bodyPr>
          <a:lstStyle/>
          <a:p>
            <a:pPr algn="just">
              <a:lnSpc>
                <a:spcPct val="150000"/>
              </a:lnSpc>
            </a:pPr>
            <a:r>
              <a:rPr lang="en-US" sz="3200" dirty="0"/>
              <a:t>1: Perfect positive correlation. The variables tend to move in the same direction (i.e., when one variable increases, the other variable also increases).</a:t>
            </a:r>
          </a:p>
          <a:p>
            <a:pPr algn="just">
              <a:lnSpc>
                <a:spcPct val="150000"/>
              </a:lnSpc>
            </a:pPr>
            <a:endParaRPr lang="en-US" sz="3200" dirty="0"/>
          </a:p>
          <a:p>
            <a:pPr algn="just">
              <a:lnSpc>
                <a:spcPct val="150000"/>
              </a:lnSpc>
            </a:pPr>
            <a:r>
              <a:rPr lang="en-US" sz="3200" dirty="0"/>
              <a:t>Positive correlation is a relationship between two variables in which both variables move in the same direction. This is when one variable increase while the other increases and vice versa.</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correlation?</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356668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798654"/>
            <a:ext cx="11681633" cy="2970685"/>
          </a:xfrm>
          <a:prstGeom prst="rect">
            <a:avLst/>
          </a:prstGeom>
        </p:spPr>
        <p:txBody>
          <a:bodyPr wrap="square">
            <a:spAutoFit/>
          </a:bodyPr>
          <a:lstStyle/>
          <a:p>
            <a:pPr algn="just">
              <a:lnSpc>
                <a:spcPct val="150000"/>
              </a:lnSpc>
            </a:pPr>
            <a:r>
              <a:rPr lang="en-US" sz="3200" dirty="0"/>
              <a:t>Correlation measures the strength and direction of the linear relationship between two variables. It cannot capture nonlinear relationships between two variables and cannot differentiate between dependent and independent variables.</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Important note</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888367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798654"/>
            <a:ext cx="11681633" cy="4040465"/>
          </a:xfrm>
          <a:prstGeom prst="rect">
            <a:avLst/>
          </a:prstGeom>
        </p:spPr>
        <p:txBody>
          <a:bodyPr wrap="square">
            <a:spAutoFit/>
          </a:bodyPr>
          <a:lstStyle/>
          <a:p>
            <a:pPr algn="just">
              <a:lnSpc>
                <a:spcPct val="150000"/>
              </a:lnSpc>
            </a:pPr>
            <a:r>
              <a:rPr lang="en-US" sz="3200" dirty="0"/>
              <a:t>To examine whether there is a correlation between two quantitative variables, you will need to first plot a scatter diagram. The scatter diagram assesses the relationship between the variables and determine whether they are correlated or not.</a:t>
            </a:r>
          </a:p>
          <a:p>
            <a:pPr algn="just">
              <a:lnSpc>
                <a:spcPct val="150000"/>
              </a:lnSpc>
            </a:pPr>
            <a:endParaRPr lang="en-US" sz="4800" dirty="0"/>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catter diagrams</a:t>
            </a:r>
          </a:p>
        </p:txBody>
      </p:sp>
    </p:spTree>
    <p:extLst>
      <p:ext uri="{BB962C8B-B14F-4D97-AF65-F5344CB8AC3E}">
        <p14:creationId xmlns:p14="http://schemas.microsoft.com/office/powerpoint/2010/main" val="2190971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155518" y="202458"/>
            <a:ext cx="9653499"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Scatter diagrams and </a:t>
            </a:r>
            <a:r>
              <a:rPr lang="en-US" sz="3600" b="1" dirty="0">
                <a:solidFill>
                  <a:srgbClr val="0070C0"/>
                </a:solidFill>
                <a:latin typeface="Gotham Light" pitchFamily="50" charset="0"/>
                <a:cs typeface="Calibri"/>
                <a:sym typeface="Calibri"/>
              </a:rPr>
              <a:t>Correlation coefficient</a:t>
            </a:r>
            <a:endParaRPr sz="3600" b="1" dirty="0">
              <a:solidFill>
                <a:srgbClr val="0070C0"/>
              </a:solidFill>
              <a:latin typeface="Gotham Light" pitchFamily="50" charset="0"/>
              <a:cs typeface="Calibri"/>
              <a:sym typeface="Calibri"/>
            </a:endParaRPr>
          </a:p>
        </p:txBody>
      </p:sp>
      <p:pic>
        <p:nvPicPr>
          <p:cNvPr id="5" name="Picture">
            <a:extLst>
              <a:ext uri="{FF2B5EF4-FFF2-40B4-BE49-F238E27FC236}">
                <a16:creationId xmlns:a16="http://schemas.microsoft.com/office/drawing/2014/main" id="{6635C132-AECA-4C81-A040-22FFA34F707F}"/>
              </a:ext>
            </a:extLst>
          </p:cNvPr>
          <p:cNvPicPr/>
          <p:nvPr/>
        </p:nvPicPr>
        <p:blipFill>
          <a:blip r:embed="rId3">
            <a:extLst>
              <a:ext uri="{28A0092B-C50C-407E-A947-70E740481C1C}">
                <a14:useLocalDpi xmlns:a14="http://schemas.microsoft.com/office/drawing/2010/main" val="0"/>
              </a:ext>
            </a:extLst>
          </a:blip>
          <a:stretch>
            <a:fillRect/>
          </a:stretch>
        </p:blipFill>
        <p:spPr bwMode="auto">
          <a:xfrm>
            <a:off x="155519" y="1440873"/>
            <a:ext cx="11546209" cy="4932219"/>
          </a:xfrm>
          <a:prstGeom prst="rect">
            <a:avLst/>
          </a:prstGeom>
          <a:noFill/>
          <a:ln w="9525">
            <a:noFill/>
            <a:headEnd/>
            <a:tailEnd/>
          </a:ln>
        </p:spPr>
      </p:pic>
    </p:spTree>
    <p:extLst>
      <p:ext uri="{BB962C8B-B14F-4D97-AF65-F5344CB8AC3E}">
        <p14:creationId xmlns:p14="http://schemas.microsoft.com/office/powerpoint/2010/main" val="315451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3" name="Picture 2">
            <a:extLst>
              <a:ext uri="{FF2B5EF4-FFF2-40B4-BE49-F238E27FC236}">
                <a16:creationId xmlns:a16="http://schemas.microsoft.com/office/drawing/2014/main" id="{9B624AEC-FF1A-4BDD-A49F-2B5299D9A6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2739" y="1200033"/>
            <a:ext cx="8895732" cy="501126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6" name="Google Shape;62;p6">
            <a:extLst>
              <a:ext uri="{FF2B5EF4-FFF2-40B4-BE49-F238E27FC236}">
                <a16:creationId xmlns:a16="http://schemas.microsoft.com/office/drawing/2014/main" id="{3B1AF9F2-B7A1-49E4-9578-2ABEE998FBCF}"/>
              </a:ext>
            </a:extLst>
          </p:cNvPr>
          <p:cNvSpPr/>
          <p:nvPr/>
        </p:nvSpPr>
        <p:spPr>
          <a:xfrm>
            <a:off x="176981" y="229663"/>
            <a:ext cx="6023741" cy="535258"/>
          </a:xfrm>
          <a:prstGeom prst="rect">
            <a:avLst/>
          </a:prstGeom>
          <a:noFill/>
          <a:ln>
            <a:noFill/>
          </a:ln>
        </p:spPr>
        <p:txBody>
          <a:bodyPr spcFirstLastPara="1" wrap="square" lIns="91425" tIns="45700" rIns="91425" bIns="45700" anchor="t" anchorCtr="0">
            <a:noAutofit/>
          </a:bodyPr>
          <a:lstStyle/>
          <a:p>
            <a:pPr>
              <a:spcBef>
                <a:spcPts val="200"/>
              </a:spcBef>
            </a:pPr>
            <a:r>
              <a:rPr lang="en-US" sz="2800" b="1" dirty="0">
                <a:solidFill>
                  <a:srgbClr val="2E74B5"/>
                </a:solidFill>
                <a:latin typeface="+mj-lt"/>
                <a:cs typeface="Times New Roman" panose="02020603050405020304" pitchFamily="18" charset="0"/>
              </a:rPr>
              <a:t>Lab session</a:t>
            </a:r>
          </a:p>
        </p:txBody>
      </p:sp>
      <p:sp>
        <p:nvSpPr>
          <p:cNvPr id="4" name="Google Shape;62;p6">
            <a:extLst>
              <a:ext uri="{FF2B5EF4-FFF2-40B4-BE49-F238E27FC236}">
                <a16:creationId xmlns:a16="http://schemas.microsoft.com/office/drawing/2014/main" id="{2916B9F8-E13E-41A8-AE5E-180E00955471}"/>
              </a:ext>
            </a:extLst>
          </p:cNvPr>
          <p:cNvSpPr/>
          <p:nvPr/>
        </p:nvSpPr>
        <p:spPr>
          <a:xfrm>
            <a:off x="10217193" y="2863262"/>
            <a:ext cx="1822408" cy="1967818"/>
          </a:xfrm>
          <a:prstGeom prst="rect">
            <a:avLst/>
          </a:prstGeom>
          <a:noFill/>
          <a:ln>
            <a:noFill/>
          </a:ln>
        </p:spPr>
        <p:txBody>
          <a:bodyPr spcFirstLastPara="1" wrap="square" lIns="91425" tIns="45700" rIns="91425" bIns="45700" anchor="t" anchorCtr="0">
            <a:noAutofit/>
          </a:bodyPr>
          <a:lstStyle/>
          <a:p>
            <a:pPr>
              <a:spcBef>
                <a:spcPts val="200"/>
              </a:spcBef>
            </a:pPr>
            <a:r>
              <a:rPr lang="en-US" sz="2400" b="1" dirty="0"/>
              <a:t>Open Statistical Thinking 2 Jupyter Notebook</a:t>
            </a:r>
          </a:p>
        </p:txBody>
      </p:sp>
    </p:spTree>
    <p:extLst>
      <p:ext uri="{BB962C8B-B14F-4D97-AF65-F5344CB8AC3E}">
        <p14:creationId xmlns:p14="http://schemas.microsoft.com/office/powerpoint/2010/main" val="2926950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50F9D87-7CA7-4A94-A5E5-A374AFD8389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109</TotalTime>
  <Words>290</Words>
  <Application>Microsoft Office PowerPoint</Application>
  <PresentationFormat>Widescreen</PresentationFormat>
  <Paragraphs>19</Paragraphs>
  <Slides>9</Slides>
  <Notes>8</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Calibri Light</vt:lpstr>
      <vt:lpstr>Gotham Light</vt:lpstr>
      <vt:lpstr>Lato Light</vt:lpstr>
      <vt:lpstr>1_Office Theme</vt:lpstr>
      <vt:lpstr>2_Office Theme</vt:lpstr>
      <vt:lpstr>think-cell Slide</vt:lpstr>
      <vt:lpstr>PowerPoint Presentation</vt:lpstr>
      <vt:lpstr>Correlation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Ezekiel Ogundepo</cp:lastModifiedBy>
  <cp:revision>61</cp:revision>
  <dcterms:created xsi:type="dcterms:W3CDTF">2020-03-16T19:15:12Z</dcterms:created>
  <dcterms:modified xsi:type="dcterms:W3CDTF">2021-09-08T17:2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